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260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EBEFF5"/>
    <a:srgbClr val="FF0000"/>
    <a:srgbClr val="4C6C9C"/>
    <a:srgbClr val="404040"/>
    <a:srgbClr val="C3CFE1"/>
    <a:srgbClr val="364D6E"/>
    <a:srgbClr val="6F8DB9"/>
    <a:srgbClr val="C5D1E3"/>
    <a:srgbClr val="D8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EDD6EA2-EECD-493A-A37C-E0006BFF8DD1}" v="4" dt="2024-09-03T13:33:54.9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70982" autoAdjust="0"/>
  </p:normalViewPr>
  <p:slideViewPr>
    <p:cSldViewPr snapToGrid="0" showGuides="1">
      <p:cViewPr varScale="1">
        <p:scale>
          <a:sx n="80" d="100"/>
          <a:sy n="80" d="100"/>
        </p:scale>
        <p:origin x="60" y="16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onWaldow, Ulrich" userId="c64b3fe1-2fbf-4408-adc4-30add62e991f" providerId="ADAL" clId="{CEDD6EA2-EECD-493A-A37C-E0006BFF8DD1}"/>
    <pc:docChg chg="custSel addSld delSld modSld replTag">
      <pc:chgData name="vonWaldow, Ulrich" userId="c64b3fe1-2fbf-4408-adc4-30add62e991f" providerId="ADAL" clId="{CEDD6EA2-EECD-493A-A37C-E0006BFF8DD1}" dt="2024-09-03T13:45:48.148" v="17" actId="47"/>
      <pc:docMkLst>
        <pc:docMk/>
      </pc:docMkLst>
      <pc:sldChg chg="modSp mod modShow">
        <pc:chgData name="vonWaldow, Ulrich" userId="c64b3fe1-2fbf-4408-adc4-30add62e991f" providerId="ADAL" clId="{CEDD6EA2-EECD-493A-A37C-E0006BFF8DD1}" dt="2024-09-03T13:36:39.479" v="15"/>
        <pc:sldMkLst>
          <pc:docMk/>
          <pc:sldMk cId="2116952522" sldId="260"/>
        </pc:sldMkLst>
        <pc:spChg chg="mod">
          <ac:chgData name="vonWaldow, Ulrich" userId="c64b3fe1-2fbf-4408-adc4-30add62e991f" providerId="ADAL" clId="{CEDD6EA2-EECD-493A-A37C-E0006BFF8DD1}" dt="2024-09-03T13:33:54.955" v="9" actId="948"/>
          <ac:spMkLst>
            <pc:docMk/>
            <pc:sldMk cId="2116952522" sldId="260"/>
            <ac:spMk id="2" creationId="{0750FB05-03B3-31D6-13E9-45859B581481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3" creationId="{5657A0C4-C8B8-C20A-40F4-198DBEFDF301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4" creationId="{C4B8857D-D18B-D3A8-4063-0B60FC536EA4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5" creationId="{7E26BC16-C872-8FD7-00F3-E5DE233459E0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6" creationId="{1CE36457-C1FA-C38E-001A-01F11268510F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1" creationId="{7597AA68-3067-A16D-4DB5-7DD23E954BF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2" creationId="{E7A604DC-B6DB-A34E-DBFC-D6C8FCFA6BF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3" creationId="{B9CEF329-77B0-45F3-F4A4-CFC6F1446391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4" creationId="{B9E3B2C7-A3AB-80F7-731A-D2A1C29939E8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5" creationId="{BC1B5B6C-0F79-A84B-7B56-8EBD941A8758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6" creationId="{5FCFA50D-210F-D3E8-C83E-CB744D4BC62E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7" creationId="{035946D2-40C0-8A7C-809A-AD81A41491A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8" creationId="{4FEA0697-0F8C-CA8F-2575-383C5F5E2BD1}"/>
          </ac:spMkLst>
        </pc:spChg>
        <pc:spChg chg="mod">
          <ac:chgData name="vonWaldow, Ulrich" userId="c64b3fe1-2fbf-4408-adc4-30add62e991f" providerId="ADAL" clId="{CEDD6EA2-EECD-493A-A37C-E0006BFF8DD1}" dt="2024-09-03T13:36:39.479" v="15"/>
          <ac:spMkLst>
            <pc:docMk/>
            <pc:sldMk cId="2116952522" sldId="260"/>
            <ac:spMk id="33" creationId="{963C7E66-7E87-EC4E-912D-AAABFA41962C}"/>
          </ac:spMkLst>
        </pc:spChg>
        <pc:spChg chg="mod">
          <ac:chgData name="vonWaldow, Ulrich" userId="c64b3fe1-2fbf-4408-adc4-30add62e991f" providerId="ADAL" clId="{CEDD6EA2-EECD-493A-A37C-E0006BFF8DD1}" dt="2024-09-03T13:36:30.805" v="14"/>
          <ac:spMkLst>
            <pc:docMk/>
            <pc:sldMk cId="2116952522" sldId="260"/>
            <ac:spMk id="34" creationId="{4D61D5E3-D4B0-D197-98C8-14D601171576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35" creationId="{E09947DD-296C-6CD4-73A7-D185D8FA41DF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36" creationId="{14C0E3A6-12DA-9015-E731-1C738F77F431}"/>
          </ac:spMkLst>
        </pc:spChg>
        <pc:graphicFrameChg chg="mod">
          <ac:chgData name="vonWaldow, Ulrich" userId="c64b3fe1-2fbf-4408-adc4-30add62e991f" providerId="ADAL" clId="{CEDD6EA2-EECD-493A-A37C-E0006BFF8DD1}" dt="2024-09-03T13:33:54.963" v="13"/>
          <ac:graphicFrameMkLst>
            <pc:docMk/>
            <pc:sldMk cId="2116952522" sldId="260"/>
            <ac:graphicFrameMk id="19" creationId="{034C62C7-F4F2-34AD-9078-54E39676EF91}"/>
          </ac:graphicFrameMkLst>
        </pc:graphicFrameChg>
      </pc:sldChg>
      <pc:sldChg chg="del">
        <pc:chgData name="vonWaldow, Ulrich" userId="c64b3fe1-2fbf-4408-adc4-30add62e991f" providerId="ADAL" clId="{CEDD6EA2-EECD-493A-A37C-E0006BFF8DD1}" dt="2024-09-03T13:33:21.187" v="0" actId="47"/>
        <pc:sldMkLst>
          <pc:docMk/>
          <pc:sldMk cId="743316995" sldId="261"/>
        </pc:sldMkLst>
      </pc:sldChg>
      <pc:sldChg chg="new del">
        <pc:chgData name="vonWaldow, Ulrich" userId="c64b3fe1-2fbf-4408-adc4-30add62e991f" providerId="ADAL" clId="{CEDD6EA2-EECD-493A-A37C-E0006BFF8DD1}" dt="2024-09-03T13:45:48.148" v="17" actId="47"/>
        <pc:sldMkLst>
          <pc:docMk/>
          <pc:sldMk cId="3291590117" sldId="261"/>
        </pc:sldMkLst>
      </pc:sldChg>
      <pc:sldChg chg="del">
        <pc:chgData name="vonWaldow, Ulrich" userId="c64b3fe1-2fbf-4408-adc4-30add62e991f" providerId="ADAL" clId="{CEDD6EA2-EECD-493A-A37C-E0006BFF8DD1}" dt="2024-09-03T13:33:21.187" v="0" actId="47"/>
        <pc:sldMkLst>
          <pc:docMk/>
          <pc:sldMk cId="1636317749" sldId="26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3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3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4.png"/><Relationship Id="rId12" Type="http://schemas.openxmlformats.org/officeDocument/2006/relationships/image" Target="../media/image1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1.emf"/><Relationship Id="rId9" Type="http://schemas.openxmlformats.org/officeDocument/2006/relationships/image" Target="../media/image1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6413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454" y="3159363"/>
            <a:ext cx="5428713" cy="1306248"/>
          </a:xfrm>
        </p:spPr>
        <p:txBody>
          <a:bodyPr lIns="36000" tIns="36000" rIns="36000" bIns="36000" numCol="2" spcCol="18000">
            <a:noAutofit/>
          </a:bodyPr>
          <a:lstStyle>
            <a:lvl1pPr marL="177800" indent="-177800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1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808" y="1383975"/>
            <a:ext cx="5466359" cy="1365365"/>
          </a:xfrm>
        </p:spPr>
        <p:txBody>
          <a:bodyPr lIns="36000" tIns="36000" rIns="36000" bIns="36000"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r>
              <a:rPr lang="de-DE" dirty="0"/>
              <a:t>Initial Situation &amp; Challen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D23A2AC-4D01-2523-DC9D-3E9ABE6F73C2}"/>
              </a:ext>
            </a:extLst>
          </p:cNvPr>
          <p:cNvCxnSpPr>
            <a:cxnSpLocks/>
          </p:cNvCxnSpPr>
          <p:nvPr userDrawn="1"/>
        </p:nvCxnSpPr>
        <p:spPr>
          <a:xfrm>
            <a:off x="6186879" y="1085134"/>
            <a:ext cx="0" cy="52427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14311" y="1260038"/>
            <a:ext cx="4696638" cy="1319198"/>
          </a:xfr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D3292199-97E7-107D-101C-9B4D199378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8949" y="3175810"/>
            <a:ext cx="5567363" cy="3097991"/>
          </a:xfrm>
        </p:spPr>
        <p:txBody>
          <a:bodyPr/>
          <a:lstStyle>
            <a:lvl1pPr marL="0" indent="0"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Bild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sp>
        <p:nvSpPr>
          <p:cNvPr id="24" name="Parallelogramm 23">
            <a:extLst>
              <a:ext uri="{FF2B5EF4-FFF2-40B4-BE49-F238E27FC236}">
                <a16:creationId xmlns:a16="http://schemas.microsoft.com/office/drawing/2014/main" id="{43F3822F-2551-11EE-DC55-EB55D5C2AA25}"/>
              </a:ext>
            </a:extLst>
          </p:cNvPr>
          <p:cNvSpPr/>
          <p:nvPr userDrawn="1"/>
        </p:nvSpPr>
        <p:spPr>
          <a:xfrm>
            <a:off x="565824" y="1065051"/>
            <a:ext cx="5528984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AD8C068-F8CF-E34F-2B75-F40FC9D7C5A9}"/>
              </a:ext>
            </a:extLst>
          </p:cNvPr>
          <p:cNvSpPr/>
          <p:nvPr userDrawn="1"/>
        </p:nvSpPr>
        <p:spPr>
          <a:xfrm>
            <a:off x="349823" y="1008513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Grafik 25" descr="Lupe mit einfarbiger Füllung">
            <a:extLst>
              <a:ext uri="{FF2B5EF4-FFF2-40B4-BE49-F238E27FC236}">
                <a16:creationId xmlns:a16="http://schemas.microsoft.com/office/drawing/2014/main" id="{A4BE3FB3-9A65-CFF9-7998-4027A8D2DE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450623" y="1109313"/>
            <a:ext cx="230400" cy="230400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B76B3A3E-D5B9-E395-0E5C-101C76045CC7}"/>
              </a:ext>
            </a:extLst>
          </p:cNvPr>
          <p:cNvSpPr txBox="1"/>
          <p:nvPr userDrawn="1"/>
        </p:nvSpPr>
        <p:spPr>
          <a:xfrm>
            <a:off x="565825" y="1101402"/>
            <a:ext cx="3396575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Initial Situation &amp; Challenge</a:t>
            </a: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2ED28AD-D553-4B3E-EA4B-ACDB94855229}"/>
              </a:ext>
            </a:extLst>
          </p:cNvPr>
          <p:cNvGrpSpPr/>
          <p:nvPr userDrawn="1"/>
        </p:nvGrpSpPr>
        <p:grpSpPr>
          <a:xfrm>
            <a:off x="349823" y="2783496"/>
            <a:ext cx="5744986" cy="432000"/>
            <a:chOff x="349823" y="2962944"/>
            <a:chExt cx="5744986" cy="432000"/>
          </a:xfrm>
        </p:grpSpPr>
        <p:sp>
          <p:nvSpPr>
            <p:cNvPr id="35" name="Parallelogramm 34">
              <a:extLst>
                <a:ext uri="{FF2B5EF4-FFF2-40B4-BE49-F238E27FC236}">
                  <a16:creationId xmlns:a16="http://schemas.microsoft.com/office/drawing/2014/main" id="{BFA0D1BA-C54C-90BA-9D4E-573E6122E666}"/>
                </a:ext>
              </a:extLst>
            </p:cNvPr>
            <p:cNvSpPr/>
            <p:nvPr userDrawn="1"/>
          </p:nvSpPr>
          <p:spPr>
            <a:xfrm>
              <a:off x="565824" y="3019482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006ABDF6-D5D3-2CEA-95A3-CA9DCCBFCB79}"/>
                </a:ext>
              </a:extLst>
            </p:cNvPr>
            <p:cNvSpPr/>
            <p:nvPr userDrawn="1"/>
          </p:nvSpPr>
          <p:spPr>
            <a:xfrm>
              <a:off x="349823" y="2962944"/>
              <a:ext cx="432000" cy="432000"/>
            </a:xfrm>
            <a:prstGeom prst="ellipse">
              <a:avLst/>
            </a:prstGeom>
            <a:solidFill>
              <a:srgbClr val="003366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2" name="Grafik 41" descr="Route zwei Stecknadeln mit Weg mit einfarbiger Füllung">
              <a:extLst>
                <a:ext uri="{FF2B5EF4-FFF2-40B4-BE49-F238E27FC236}">
                  <a16:creationId xmlns:a16="http://schemas.microsoft.com/office/drawing/2014/main" id="{ED303A16-C139-2470-AF89-BB16B3C35B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0624" y="3063744"/>
              <a:ext cx="230400" cy="230400"/>
            </a:xfrm>
            <a:prstGeom prst="rect">
              <a:avLst/>
            </a:prstGeom>
          </p:spPr>
        </p:pic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917773B7-62C0-0443-00E0-8FF1D8BEBE45}"/>
                </a:ext>
              </a:extLst>
            </p:cNvPr>
            <p:cNvSpPr txBox="1"/>
            <p:nvPr userDrawn="1"/>
          </p:nvSpPr>
          <p:spPr>
            <a:xfrm>
              <a:off x="565824" y="3055834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 err="1">
                  <a:solidFill>
                    <a:schemeClr val="bg1"/>
                  </a:solidFill>
                  <a:latin typeface="Arial" panose="020B0604020202020204"/>
                </a:rPr>
                <a:t>Our</a:t>
              </a: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 Solution Concept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B9E6E3AF-815D-F8F3-7EA0-E94D7808EA90}"/>
              </a:ext>
            </a:extLst>
          </p:cNvPr>
          <p:cNvGrpSpPr/>
          <p:nvPr userDrawn="1"/>
        </p:nvGrpSpPr>
        <p:grpSpPr>
          <a:xfrm>
            <a:off x="349823" y="4561080"/>
            <a:ext cx="5744986" cy="432000"/>
            <a:chOff x="-6089077" y="2729523"/>
            <a:chExt cx="5744986" cy="432000"/>
          </a:xfrm>
        </p:grpSpPr>
        <p:sp>
          <p:nvSpPr>
            <p:cNvPr id="57" name="Parallelogramm 56">
              <a:extLst>
                <a:ext uri="{FF2B5EF4-FFF2-40B4-BE49-F238E27FC236}">
                  <a16:creationId xmlns:a16="http://schemas.microsoft.com/office/drawing/2014/main" id="{5369A5B8-E284-835C-8BD9-5EF5A1A452BC}"/>
                </a:ext>
              </a:extLst>
            </p:cNvPr>
            <p:cNvSpPr/>
            <p:nvPr userDrawn="1"/>
          </p:nvSpPr>
          <p:spPr>
            <a:xfrm>
              <a:off x="-5873076" y="2786061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D7ECAB0-C15C-3600-A7AC-DD81408DF5DF}"/>
                </a:ext>
              </a:extLst>
            </p:cNvPr>
            <p:cNvGrpSpPr/>
            <p:nvPr userDrawn="1"/>
          </p:nvGrpSpPr>
          <p:grpSpPr>
            <a:xfrm>
              <a:off x="-6089077" y="2729523"/>
              <a:ext cx="432000" cy="432000"/>
              <a:chOff x="-969588" y="3674144"/>
              <a:chExt cx="432000" cy="432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449819CB-5893-4485-6DA2-957222AF6E7E}"/>
                  </a:ext>
                </a:extLst>
              </p:cNvPr>
              <p:cNvSpPr/>
              <p:nvPr userDrawn="1"/>
            </p:nvSpPr>
            <p:spPr>
              <a:xfrm>
                <a:off x="-969588" y="3674144"/>
                <a:ext cx="432000" cy="432000"/>
              </a:xfrm>
              <a:prstGeom prst="ellipse">
                <a:avLst/>
              </a:prstGeom>
              <a:solidFill>
                <a:srgbClr val="003366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52" name="Grafik 51" descr="Aufwärtstrend mit einfarbiger Füllung">
                <a:extLst>
                  <a:ext uri="{FF2B5EF4-FFF2-40B4-BE49-F238E27FC236}">
                    <a16:creationId xmlns:a16="http://schemas.microsoft.com/office/drawing/2014/main" id="{70505792-34B2-899B-375C-98C8C4ED27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-868787" y="3774944"/>
                <a:ext cx="230400" cy="230400"/>
              </a:xfrm>
              <a:prstGeom prst="rect">
                <a:avLst/>
              </a:prstGeom>
            </p:spPr>
          </p:pic>
        </p:grp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E3937068-94E5-CCC7-1A40-53573519CBDC}"/>
                </a:ext>
              </a:extLst>
            </p:cNvPr>
            <p:cNvSpPr txBox="1"/>
            <p:nvPr userDrawn="1"/>
          </p:nvSpPr>
          <p:spPr>
            <a:xfrm>
              <a:off x="-5873076" y="2822413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Impact</a:t>
              </a:r>
            </a:p>
          </p:txBody>
        </p:sp>
      </p:grpSp>
      <p:sp>
        <p:nvSpPr>
          <p:cNvPr id="9" name="Textplatzhalter 33">
            <a:extLst>
              <a:ext uri="{FF2B5EF4-FFF2-40B4-BE49-F238E27FC236}">
                <a16:creationId xmlns:a16="http://schemas.microsoft.com/office/drawing/2014/main" id="{94A5A9BB-ABCC-39B6-3A2F-713163FA375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454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10" name="Textplatzhalter 33">
            <a:extLst>
              <a:ext uri="{FF2B5EF4-FFF2-40B4-BE49-F238E27FC236}">
                <a16:creationId xmlns:a16="http://schemas.microsoft.com/office/drawing/2014/main" id="{AC1F128E-9AF3-155A-C1E0-726D665CEA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455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</a:t>
            </a:r>
          </a:p>
        </p:txBody>
      </p:sp>
      <p:sp>
        <p:nvSpPr>
          <p:cNvPr id="16" name="Textplatzhalter 33">
            <a:extLst>
              <a:ext uri="{FF2B5EF4-FFF2-40B4-BE49-F238E27FC236}">
                <a16:creationId xmlns:a16="http://schemas.microsoft.com/office/drawing/2014/main" id="{AA11F49E-35B8-0CCD-FA07-157FA808BB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38248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2</a:t>
            </a:r>
          </a:p>
        </p:txBody>
      </p:sp>
      <p:sp>
        <p:nvSpPr>
          <p:cNvPr id="17" name="Textplatzhalter 33">
            <a:extLst>
              <a:ext uri="{FF2B5EF4-FFF2-40B4-BE49-F238E27FC236}">
                <a16:creationId xmlns:a16="http://schemas.microsoft.com/office/drawing/2014/main" id="{74AD7922-9B87-EE49-00E6-CA6C09DFEC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538248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2</a:t>
            </a:r>
          </a:p>
        </p:txBody>
      </p:sp>
      <p:sp>
        <p:nvSpPr>
          <p:cNvPr id="18" name="Textplatzhalter 33">
            <a:extLst>
              <a:ext uri="{FF2B5EF4-FFF2-40B4-BE49-F238E27FC236}">
                <a16:creationId xmlns:a16="http://schemas.microsoft.com/office/drawing/2014/main" id="{E8A4FF14-553B-08AC-2A2B-6F1C3B25BB0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09041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3</a:t>
            </a:r>
          </a:p>
        </p:txBody>
      </p:sp>
      <p:sp>
        <p:nvSpPr>
          <p:cNvPr id="21" name="Textplatzhalter 33">
            <a:extLst>
              <a:ext uri="{FF2B5EF4-FFF2-40B4-BE49-F238E27FC236}">
                <a16:creationId xmlns:a16="http://schemas.microsoft.com/office/drawing/2014/main" id="{A6008075-246C-48E1-1042-AB5743C154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09041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610450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6413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454" y="3159363"/>
            <a:ext cx="5428713" cy="1306248"/>
          </a:xfrm>
        </p:spPr>
        <p:txBody>
          <a:bodyPr lIns="36000" tIns="36000" rIns="36000" bIns="36000" numCol="2" spcCol="18000">
            <a:noAutofit/>
          </a:bodyPr>
          <a:lstStyle>
            <a:lvl1pPr marL="177800" indent="-177800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1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808" y="1383975"/>
            <a:ext cx="5466359" cy="1365365"/>
          </a:xfrm>
        </p:spPr>
        <p:txBody>
          <a:bodyPr lIns="36000" tIns="36000" rIns="36000" bIns="36000"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r>
              <a:rPr lang="de-DE" dirty="0"/>
              <a:t>Initial Situation &amp; Challen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D23A2AC-4D01-2523-DC9D-3E9ABE6F73C2}"/>
              </a:ext>
            </a:extLst>
          </p:cNvPr>
          <p:cNvCxnSpPr>
            <a:cxnSpLocks/>
          </p:cNvCxnSpPr>
          <p:nvPr userDrawn="1"/>
        </p:nvCxnSpPr>
        <p:spPr>
          <a:xfrm>
            <a:off x="6186879" y="1085134"/>
            <a:ext cx="0" cy="52427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33">
            <a:extLst>
              <a:ext uri="{FF2B5EF4-FFF2-40B4-BE49-F238E27FC236}">
                <a16:creationId xmlns:a16="http://schemas.microsoft.com/office/drawing/2014/main" id="{6BCA1A3C-C81C-36A0-16B3-4DF28C6F88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9542" y="4955618"/>
            <a:ext cx="1116000" cy="288147"/>
          </a:xfrm>
          <a:solidFill>
            <a:schemeClr val="bg1"/>
          </a:solidFill>
        </p:spPr>
        <p:txBody>
          <a:bodyPr wrap="square" lIns="0" tIns="0" rIns="3600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 b="1" u="none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r>
              <a:rPr lang="en-US" dirty="0"/>
              <a:t>KPI 1</a:t>
            </a:r>
          </a:p>
        </p:txBody>
      </p: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14311" y="1260038"/>
            <a:ext cx="4696638" cy="1319198"/>
          </a:xfrm>
        </p:spPr>
        <p:txBody>
          <a:bodyPr lIns="36000" tIns="36000" rIns="36000" bIns="3600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D3292199-97E7-107D-101C-9B4D199378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8949" y="3175810"/>
            <a:ext cx="5567363" cy="3097991"/>
          </a:xfrm>
        </p:spPr>
        <p:txBody>
          <a:bodyPr/>
          <a:lstStyle>
            <a:lvl1pPr marL="0" indent="0"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Bild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sp>
        <p:nvSpPr>
          <p:cNvPr id="3" name="Textplatzhalter 33">
            <a:extLst>
              <a:ext uri="{FF2B5EF4-FFF2-40B4-BE49-F238E27FC236}">
                <a16:creationId xmlns:a16="http://schemas.microsoft.com/office/drawing/2014/main" id="{1AAB270D-2C0A-B5C4-BB96-961C3450B8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9543" y="5296855"/>
            <a:ext cx="1116000" cy="288147"/>
          </a:xfrm>
          <a:solidFill>
            <a:schemeClr val="bg1"/>
          </a:solidFill>
        </p:spPr>
        <p:txBody>
          <a:bodyPr wrap="square" lIns="0" tIns="0" rIns="3600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 b="1" u="none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KPI 2</a:t>
            </a:r>
          </a:p>
        </p:txBody>
      </p:sp>
      <p:sp>
        <p:nvSpPr>
          <p:cNvPr id="5" name="Textplatzhalter 33">
            <a:extLst>
              <a:ext uri="{FF2B5EF4-FFF2-40B4-BE49-F238E27FC236}">
                <a16:creationId xmlns:a16="http://schemas.microsoft.com/office/drawing/2014/main" id="{1993DED0-7EFC-B63B-C5BE-53A4FC2839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543" y="5638092"/>
            <a:ext cx="1116000" cy="288147"/>
          </a:xfrm>
          <a:solidFill>
            <a:schemeClr val="bg1"/>
          </a:solidFill>
        </p:spPr>
        <p:txBody>
          <a:bodyPr wrap="square" lIns="0" tIns="0" rIns="3600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 b="1" u="none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KPI 3</a:t>
            </a:r>
          </a:p>
        </p:txBody>
      </p:sp>
      <p:sp>
        <p:nvSpPr>
          <p:cNvPr id="11" name="Textplatzhalter 33">
            <a:extLst>
              <a:ext uri="{FF2B5EF4-FFF2-40B4-BE49-F238E27FC236}">
                <a16:creationId xmlns:a16="http://schemas.microsoft.com/office/drawing/2014/main" id="{D67DA9F5-7C51-44E6-5E13-5BD881AEC7F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43" y="5979328"/>
            <a:ext cx="1116000" cy="288147"/>
          </a:xfrm>
          <a:solidFill>
            <a:schemeClr val="bg1"/>
          </a:solidFill>
        </p:spPr>
        <p:txBody>
          <a:bodyPr wrap="square" lIns="0" tIns="0" rIns="3600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 b="1" u="none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KPI 4</a:t>
            </a:r>
          </a:p>
        </p:txBody>
      </p:sp>
      <p:sp>
        <p:nvSpPr>
          <p:cNvPr id="12" name="Textplatzhalter 33">
            <a:extLst>
              <a:ext uri="{FF2B5EF4-FFF2-40B4-BE49-F238E27FC236}">
                <a16:creationId xmlns:a16="http://schemas.microsoft.com/office/drawing/2014/main" id="{C8EC994F-CC8F-5334-AAF5-5D9BF0FA0F6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45542" y="4955618"/>
            <a:ext cx="4350625" cy="288147"/>
          </a:xfrm>
        </p:spPr>
        <p:txBody>
          <a:bodyPr wrap="square" lIns="36000" tIns="0" rIns="36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 u="none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Description KPI 1</a:t>
            </a:r>
          </a:p>
        </p:txBody>
      </p:sp>
      <p:sp>
        <p:nvSpPr>
          <p:cNvPr id="20" name="Textplatzhalter 33">
            <a:extLst>
              <a:ext uri="{FF2B5EF4-FFF2-40B4-BE49-F238E27FC236}">
                <a16:creationId xmlns:a16="http://schemas.microsoft.com/office/drawing/2014/main" id="{47EEB06A-8156-C2D8-6A20-E1861B3586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45542" y="5296855"/>
            <a:ext cx="4350625" cy="288147"/>
          </a:xfrm>
        </p:spPr>
        <p:txBody>
          <a:bodyPr wrap="square" lIns="36000" tIns="0" rIns="36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 u="none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Description KPI 2</a:t>
            </a:r>
          </a:p>
        </p:txBody>
      </p:sp>
      <p:sp>
        <p:nvSpPr>
          <p:cNvPr id="22" name="Textplatzhalter 33">
            <a:extLst>
              <a:ext uri="{FF2B5EF4-FFF2-40B4-BE49-F238E27FC236}">
                <a16:creationId xmlns:a16="http://schemas.microsoft.com/office/drawing/2014/main" id="{B128E410-5D70-9C15-3EBF-5B327F34D0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45542" y="5638092"/>
            <a:ext cx="4350625" cy="288147"/>
          </a:xfrm>
        </p:spPr>
        <p:txBody>
          <a:bodyPr wrap="square" lIns="36000" tIns="0" rIns="36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 u="none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Description KPI 3</a:t>
            </a:r>
          </a:p>
        </p:txBody>
      </p:sp>
      <p:sp>
        <p:nvSpPr>
          <p:cNvPr id="23" name="Textplatzhalter 33">
            <a:extLst>
              <a:ext uri="{FF2B5EF4-FFF2-40B4-BE49-F238E27FC236}">
                <a16:creationId xmlns:a16="http://schemas.microsoft.com/office/drawing/2014/main" id="{573F11A6-96B4-784E-6EE1-16A0992680B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45542" y="5979328"/>
            <a:ext cx="4350625" cy="288147"/>
          </a:xfrm>
        </p:spPr>
        <p:txBody>
          <a:bodyPr wrap="square" lIns="36000" tIns="0" rIns="36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0" u="none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Description KPI 4</a:t>
            </a:r>
          </a:p>
        </p:txBody>
      </p:sp>
      <p:sp>
        <p:nvSpPr>
          <p:cNvPr id="24" name="Parallelogramm 23">
            <a:extLst>
              <a:ext uri="{FF2B5EF4-FFF2-40B4-BE49-F238E27FC236}">
                <a16:creationId xmlns:a16="http://schemas.microsoft.com/office/drawing/2014/main" id="{43F3822F-2551-11EE-DC55-EB55D5C2AA25}"/>
              </a:ext>
            </a:extLst>
          </p:cNvPr>
          <p:cNvSpPr/>
          <p:nvPr userDrawn="1"/>
        </p:nvSpPr>
        <p:spPr>
          <a:xfrm>
            <a:off x="565824" y="1065051"/>
            <a:ext cx="5528984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AD8C068-F8CF-E34F-2B75-F40FC9D7C5A9}"/>
              </a:ext>
            </a:extLst>
          </p:cNvPr>
          <p:cNvSpPr/>
          <p:nvPr userDrawn="1"/>
        </p:nvSpPr>
        <p:spPr>
          <a:xfrm>
            <a:off x="349823" y="1008513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Grafik 25" descr="Lupe mit einfarbiger Füllung">
            <a:extLst>
              <a:ext uri="{FF2B5EF4-FFF2-40B4-BE49-F238E27FC236}">
                <a16:creationId xmlns:a16="http://schemas.microsoft.com/office/drawing/2014/main" id="{A4BE3FB3-9A65-CFF9-7998-4027A8D2DE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450623" y="1109313"/>
            <a:ext cx="230400" cy="230400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B76B3A3E-D5B9-E395-0E5C-101C76045CC7}"/>
              </a:ext>
            </a:extLst>
          </p:cNvPr>
          <p:cNvSpPr txBox="1"/>
          <p:nvPr userDrawn="1"/>
        </p:nvSpPr>
        <p:spPr>
          <a:xfrm>
            <a:off x="565825" y="1101402"/>
            <a:ext cx="3396575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Initial Situation &amp; Challenge</a:t>
            </a: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2ED28AD-D553-4B3E-EA4B-ACDB94855229}"/>
              </a:ext>
            </a:extLst>
          </p:cNvPr>
          <p:cNvGrpSpPr/>
          <p:nvPr userDrawn="1"/>
        </p:nvGrpSpPr>
        <p:grpSpPr>
          <a:xfrm>
            <a:off x="349823" y="2783496"/>
            <a:ext cx="5744986" cy="432000"/>
            <a:chOff x="349823" y="2962944"/>
            <a:chExt cx="5744986" cy="432000"/>
          </a:xfrm>
        </p:grpSpPr>
        <p:sp>
          <p:nvSpPr>
            <p:cNvPr id="35" name="Parallelogramm 34">
              <a:extLst>
                <a:ext uri="{FF2B5EF4-FFF2-40B4-BE49-F238E27FC236}">
                  <a16:creationId xmlns:a16="http://schemas.microsoft.com/office/drawing/2014/main" id="{BFA0D1BA-C54C-90BA-9D4E-573E6122E666}"/>
                </a:ext>
              </a:extLst>
            </p:cNvPr>
            <p:cNvSpPr/>
            <p:nvPr userDrawn="1"/>
          </p:nvSpPr>
          <p:spPr>
            <a:xfrm>
              <a:off x="565824" y="3019482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006ABDF6-D5D3-2CEA-95A3-CA9DCCBFCB79}"/>
                </a:ext>
              </a:extLst>
            </p:cNvPr>
            <p:cNvSpPr/>
            <p:nvPr userDrawn="1"/>
          </p:nvSpPr>
          <p:spPr>
            <a:xfrm>
              <a:off x="349823" y="2962944"/>
              <a:ext cx="432000" cy="432000"/>
            </a:xfrm>
            <a:prstGeom prst="ellipse">
              <a:avLst/>
            </a:prstGeom>
            <a:solidFill>
              <a:srgbClr val="003366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2" name="Grafik 41" descr="Route zwei Stecknadeln mit Weg mit einfarbiger Füllung">
              <a:extLst>
                <a:ext uri="{FF2B5EF4-FFF2-40B4-BE49-F238E27FC236}">
                  <a16:creationId xmlns:a16="http://schemas.microsoft.com/office/drawing/2014/main" id="{ED303A16-C139-2470-AF89-BB16B3C35B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0624" y="3063744"/>
              <a:ext cx="230400" cy="230400"/>
            </a:xfrm>
            <a:prstGeom prst="rect">
              <a:avLst/>
            </a:prstGeom>
          </p:spPr>
        </p:pic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917773B7-62C0-0443-00E0-8FF1D8BEBE45}"/>
                </a:ext>
              </a:extLst>
            </p:cNvPr>
            <p:cNvSpPr txBox="1"/>
            <p:nvPr userDrawn="1"/>
          </p:nvSpPr>
          <p:spPr>
            <a:xfrm>
              <a:off x="565824" y="3055834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 err="1">
                  <a:solidFill>
                    <a:schemeClr val="bg1"/>
                  </a:solidFill>
                  <a:latin typeface="Arial" panose="020B0604020202020204"/>
                </a:rPr>
                <a:t>Our</a:t>
              </a: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 Solution Concept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B9E6E3AF-815D-F8F3-7EA0-E94D7808EA90}"/>
              </a:ext>
            </a:extLst>
          </p:cNvPr>
          <p:cNvGrpSpPr/>
          <p:nvPr userDrawn="1"/>
        </p:nvGrpSpPr>
        <p:grpSpPr>
          <a:xfrm>
            <a:off x="349823" y="4561080"/>
            <a:ext cx="5744986" cy="432000"/>
            <a:chOff x="-6089077" y="2729523"/>
            <a:chExt cx="5744986" cy="432000"/>
          </a:xfrm>
        </p:grpSpPr>
        <p:sp>
          <p:nvSpPr>
            <p:cNvPr id="57" name="Parallelogramm 56">
              <a:extLst>
                <a:ext uri="{FF2B5EF4-FFF2-40B4-BE49-F238E27FC236}">
                  <a16:creationId xmlns:a16="http://schemas.microsoft.com/office/drawing/2014/main" id="{5369A5B8-E284-835C-8BD9-5EF5A1A452BC}"/>
                </a:ext>
              </a:extLst>
            </p:cNvPr>
            <p:cNvSpPr/>
            <p:nvPr userDrawn="1"/>
          </p:nvSpPr>
          <p:spPr>
            <a:xfrm>
              <a:off x="-5873076" y="2786061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D7ECAB0-C15C-3600-A7AC-DD81408DF5DF}"/>
                </a:ext>
              </a:extLst>
            </p:cNvPr>
            <p:cNvGrpSpPr/>
            <p:nvPr userDrawn="1"/>
          </p:nvGrpSpPr>
          <p:grpSpPr>
            <a:xfrm>
              <a:off x="-6089077" y="2729523"/>
              <a:ext cx="432000" cy="432000"/>
              <a:chOff x="-969588" y="3674144"/>
              <a:chExt cx="432000" cy="432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449819CB-5893-4485-6DA2-957222AF6E7E}"/>
                  </a:ext>
                </a:extLst>
              </p:cNvPr>
              <p:cNvSpPr/>
              <p:nvPr userDrawn="1"/>
            </p:nvSpPr>
            <p:spPr>
              <a:xfrm>
                <a:off x="-969588" y="3674144"/>
                <a:ext cx="432000" cy="432000"/>
              </a:xfrm>
              <a:prstGeom prst="ellipse">
                <a:avLst/>
              </a:prstGeom>
              <a:solidFill>
                <a:srgbClr val="003366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52" name="Grafik 51" descr="Aufwärtstrend mit einfarbiger Füllung">
                <a:extLst>
                  <a:ext uri="{FF2B5EF4-FFF2-40B4-BE49-F238E27FC236}">
                    <a16:creationId xmlns:a16="http://schemas.microsoft.com/office/drawing/2014/main" id="{70505792-34B2-899B-375C-98C8C4ED27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-868787" y="3774944"/>
                <a:ext cx="230400" cy="230400"/>
              </a:xfrm>
              <a:prstGeom prst="rect">
                <a:avLst/>
              </a:prstGeom>
            </p:spPr>
          </p:pic>
        </p:grp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E3937068-94E5-CCC7-1A40-53573519CBDC}"/>
                </a:ext>
              </a:extLst>
            </p:cNvPr>
            <p:cNvSpPr txBox="1"/>
            <p:nvPr userDrawn="1"/>
          </p:nvSpPr>
          <p:spPr>
            <a:xfrm>
              <a:off x="-5873076" y="2822413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Impa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8349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454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Parallelogramm 53">
            <a:extLst>
              <a:ext uri="{FF2B5EF4-FFF2-40B4-BE49-F238E27FC236}">
                <a16:creationId xmlns:a16="http://schemas.microsoft.com/office/drawing/2014/main" id="{12D466F9-A3C9-4AE5-DA66-A5DC4105C7D6}"/>
              </a:ext>
            </a:extLst>
          </p:cNvPr>
          <p:cNvSpPr/>
          <p:nvPr userDrawn="1"/>
        </p:nvSpPr>
        <p:spPr>
          <a:xfrm>
            <a:off x="4485235" y="1399199"/>
            <a:ext cx="7376762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3" name="Rechteck 30">
            <a:extLst>
              <a:ext uri="{FF2B5EF4-FFF2-40B4-BE49-F238E27FC236}">
                <a16:creationId xmlns:a16="http://schemas.microsoft.com/office/drawing/2014/main" id="{95E970B6-3998-A5AF-6789-D415965D6A89}"/>
              </a:ext>
            </a:extLst>
          </p:cNvPr>
          <p:cNvSpPr/>
          <p:nvPr userDrawn="1"/>
        </p:nvSpPr>
        <p:spPr>
          <a:xfrm>
            <a:off x="0" y="1052512"/>
            <a:ext cx="3969600" cy="5805487"/>
          </a:xfrm>
          <a:prstGeom prst="rect">
            <a:avLst/>
          </a:prstGeom>
          <a:solidFill>
            <a:srgbClr val="00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0" tIns="360000" rtlCol="0" anchor="t"/>
          <a:lstStyle/>
          <a:p>
            <a:pPr algn="l"/>
            <a:r>
              <a:rPr lang="de-DE" sz="2000" b="1" dirty="0"/>
              <a:t>The </a:t>
            </a:r>
            <a:r>
              <a:rPr lang="de-DE" sz="2000" b="1" dirty="0" err="1"/>
              <a:t>impact</a:t>
            </a:r>
            <a:endParaRPr lang="de-DE" sz="2000" b="1" dirty="0"/>
          </a:p>
        </p:txBody>
      </p:sp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8200" y="3498226"/>
            <a:ext cx="7141359" cy="1276974"/>
          </a:xfrm>
        </p:spPr>
        <p:txBody>
          <a:bodyPr lIns="36000" tIns="90000" rIns="36000" bIns="36000" numCol="2" spcCol="18000">
            <a:noAutofit/>
          </a:bodyPr>
          <a:lstStyle>
            <a:lvl1pPr marL="171450" indent="-171450" algn="l">
              <a:lnSpc>
                <a:spcPts val="17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2</a:t>
            </a:r>
          </a:p>
        </p:txBody>
      </p:sp>
      <p:sp>
        <p:nvSpPr>
          <p:cNvPr id="7" name="Parallelogramm 6">
            <a:extLst>
              <a:ext uri="{FF2B5EF4-FFF2-40B4-BE49-F238E27FC236}">
                <a16:creationId xmlns:a16="http://schemas.microsoft.com/office/drawing/2014/main" id="{9D6C89E7-EEE0-37D4-244F-613C181533AE}"/>
              </a:ext>
            </a:extLst>
          </p:cNvPr>
          <p:cNvSpPr/>
          <p:nvPr/>
        </p:nvSpPr>
        <p:spPr>
          <a:xfrm>
            <a:off x="4485235" y="3179302"/>
            <a:ext cx="7376762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D42B26F-D6DE-CEF7-27D8-AB1F29DD79A2}"/>
              </a:ext>
            </a:extLst>
          </p:cNvPr>
          <p:cNvSpPr/>
          <p:nvPr/>
        </p:nvSpPr>
        <p:spPr>
          <a:xfrm>
            <a:off x="4269235" y="3122764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fik 9" descr="Route zwei Stecknadeln mit Weg mit einfarbiger Füllung">
            <a:extLst>
              <a:ext uri="{FF2B5EF4-FFF2-40B4-BE49-F238E27FC236}">
                <a16:creationId xmlns:a16="http://schemas.microsoft.com/office/drawing/2014/main" id="{17540618-D0CF-3E13-FDF4-E24B33E70A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70036" y="3223564"/>
            <a:ext cx="230400" cy="230400"/>
          </a:xfrm>
          <a:prstGeom prst="rect">
            <a:avLst/>
          </a:prstGeom>
        </p:spPr>
      </p:pic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8201" y="1718123"/>
            <a:ext cx="7141359" cy="459629"/>
          </a:xfrm>
        </p:spPr>
        <p:txBody>
          <a:bodyPr lIns="36000" tIns="90000" rIns="36000" bIns="36000">
            <a:spAutoFit/>
          </a:bodyPr>
          <a:lstStyle>
            <a:lvl1pPr marL="0" indent="0" algn="just">
              <a:lnSpc>
                <a:spcPts val="1700"/>
              </a:lnSpc>
              <a:spcBef>
                <a:spcPts val="0"/>
              </a:spcBef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sgangssituation &amp; Herausforderung (Fließtext, ca. 80 Wörter)</a:t>
            </a:r>
            <a:br>
              <a:rPr lang="de-DE" dirty="0"/>
            </a:br>
            <a:r>
              <a:rPr lang="de-DE" dirty="0"/>
              <a:t>Schriftgröße 12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4DC961F9-FC46-E3B1-59C4-025FA58CF6EB}"/>
              </a:ext>
            </a:extLst>
          </p:cNvPr>
          <p:cNvSpPr/>
          <p:nvPr userDrawn="1"/>
        </p:nvSpPr>
        <p:spPr>
          <a:xfrm>
            <a:off x="4269235" y="1342661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Grafik 17" descr="Lupe mit einfarbiger Füllung">
            <a:extLst>
              <a:ext uri="{FF2B5EF4-FFF2-40B4-BE49-F238E27FC236}">
                <a16:creationId xmlns:a16="http://schemas.microsoft.com/office/drawing/2014/main" id="{72B80359-4D32-6F57-D7DE-1BA78CAB719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4370035" y="1443461"/>
            <a:ext cx="230400" cy="230400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09149FCD-97B8-C54A-E02A-F1C3B6BB82FD}"/>
              </a:ext>
            </a:extLst>
          </p:cNvPr>
          <p:cNvGrpSpPr>
            <a:grpSpLocks/>
          </p:cNvGrpSpPr>
          <p:nvPr userDrawn="1"/>
        </p:nvGrpSpPr>
        <p:grpSpPr>
          <a:xfrm>
            <a:off x="363762" y="1378661"/>
            <a:ext cx="360000" cy="360000"/>
            <a:chOff x="349823" y="4496646"/>
            <a:chExt cx="288000" cy="288000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1D06FC2E-CEF9-2957-F00B-1BE607E49ECE}"/>
                </a:ext>
              </a:extLst>
            </p:cNvPr>
            <p:cNvSpPr/>
            <p:nvPr/>
          </p:nvSpPr>
          <p:spPr>
            <a:xfrm>
              <a:off x="349823" y="4496646"/>
              <a:ext cx="288000" cy="28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25" tIns="42862" rIns="85725" bIns="428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0" name="Grafik 29" descr="Aufwärtstrend mit einfarbiger Füllung">
              <a:extLst>
                <a:ext uri="{FF2B5EF4-FFF2-40B4-BE49-F238E27FC236}">
                  <a16:creationId xmlns:a16="http://schemas.microsoft.com/office/drawing/2014/main" id="{AAB911AD-2B48-71F8-2E22-4D1217181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78623" y="4525446"/>
              <a:ext cx="230400" cy="230400"/>
            </a:xfrm>
            <a:prstGeom prst="rect">
              <a:avLst/>
            </a:prstGeom>
          </p:spPr>
        </p:pic>
      </p:grp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8200" y="5019270"/>
            <a:ext cx="7141360" cy="11114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noFill/>
          </a:ln>
        </p:spPr>
        <p:txBody>
          <a:bodyPr wrap="square" lIns="360000" tIns="180000" rIns="360000" bIns="18000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6E0BF07-DC96-CD42-353F-15654423F4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9837" t="12940" r="8202" b="14982"/>
          <a:stretch/>
        </p:blipFill>
        <p:spPr>
          <a:xfrm>
            <a:off x="335569" y="6529265"/>
            <a:ext cx="789373" cy="209618"/>
          </a:xfrm>
          <a:prstGeom prst="rect">
            <a:avLst/>
          </a:prstGeom>
        </p:spPr>
      </p:pic>
      <p:sp>
        <p:nvSpPr>
          <p:cNvPr id="12" name="Textplatzhalter 33">
            <a:extLst>
              <a:ext uri="{FF2B5EF4-FFF2-40B4-BE49-F238E27FC236}">
                <a16:creationId xmlns:a16="http://schemas.microsoft.com/office/drawing/2014/main" id="{8DF4CF68-D840-AB43-DD04-B3A3A5F6347A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340910" y="2045049"/>
            <a:ext cx="3628690" cy="443198"/>
          </a:xfrm>
        </p:spPr>
        <p:txBody>
          <a:bodyPr lIns="36000" tIns="0" rIns="3600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20" name="Textplatzhalter 33">
            <a:extLst>
              <a:ext uri="{FF2B5EF4-FFF2-40B4-BE49-F238E27FC236}">
                <a16:creationId xmlns:a16="http://schemas.microsoft.com/office/drawing/2014/main" id="{CCC1D9B0-3E3B-6A81-82B1-B48232D64945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340910" y="2488247"/>
            <a:ext cx="3628690" cy="606780"/>
          </a:xfrm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1</a:t>
            </a:r>
          </a:p>
        </p:txBody>
      </p:sp>
      <p:sp>
        <p:nvSpPr>
          <p:cNvPr id="22" name="Textplatzhalter 33">
            <a:extLst>
              <a:ext uri="{FF2B5EF4-FFF2-40B4-BE49-F238E27FC236}">
                <a16:creationId xmlns:a16="http://schemas.microsoft.com/office/drawing/2014/main" id="{955C852B-03F5-26F0-4444-E04E0D0DC09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340910" y="3095027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2</a:t>
            </a:r>
          </a:p>
        </p:txBody>
      </p:sp>
      <p:sp>
        <p:nvSpPr>
          <p:cNvPr id="23" name="Textplatzhalter 33">
            <a:extLst>
              <a:ext uri="{FF2B5EF4-FFF2-40B4-BE49-F238E27FC236}">
                <a16:creationId xmlns:a16="http://schemas.microsoft.com/office/drawing/2014/main" id="{CA377B26-3BA2-4654-6FCA-6098BB9E0117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340910" y="3538225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6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2</a:t>
            </a:r>
          </a:p>
        </p:txBody>
      </p:sp>
      <p:sp>
        <p:nvSpPr>
          <p:cNvPr id="24" name="Textplatzhalter 33">
            <a:extLst>
              <a:ext uri="{FF2B5EF4-FFF2-40B4-BE49-F238E27FC236}">
                <a16:creationId xmlns:a16="http://schemas.microsoft.com/office/drawing/2014/main" id="{9F356882-59BA-8A22-1C87-7353807F2708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340910" y="4145005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3</a:t>
            </a:r>
          </a:p>
        </p:txBody>
      </p:sp>
      <p:sp>
        <p:nvSpPr>
          <p:cNvPr id="25" name="Textplatzhalter 33">
            <a:extLst>
              <a:ext uri="{FF2B5EF4-FFF2-40B4-BE49-F238E27FC236}">
                <a16:creationId xmlns:a16="http://schemas.microsoft.com/office/drawing/2014/main" id="{0D6A690C-8E97-EFC0-430C-4028B1A71B8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340910" y="4588203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6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3</a:t>
            </a:r>
          </a:p>
        </p:txBody>
      </p:sp>
      <p:sp>
        <p:nvSpPr>
          <p:cNvPr id="26" name="Textplatzhalter 33">
            <a:extLst>
              <a:ext uri="{FF2B5EF4-FFF2-40B4-BE49-F238E27FC236}">
                <a16:creationId xmlns:a16="http://schemas.microsoft.com/office/drawing/2014/main" id="{CDC28740-E260-DED9-33B1-8A6AC4CBBB7C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40910" y="5194983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4</a:t>
            </a:r>
          </a:p>
        </p:txBody>
      </p:sp>
      <p:sp>
        <p:nvSpPr>
          <p:cNvPr id="31" name="Textplatzhalter 33">
            <a:extLst>
              <a:ext uri="{FF2B5EF4-FFF2-40B4-BE49-F238E27FC236}">
                <a16:creationId xmlns:a16="http://schemas.microsoft.com/office/drawing/2014/main" id="{28C3A46C-1471-B32F-D881-A63D1A5126CC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40910" y="5638181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6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4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4BD8967D-16E0-5F11-0352-4C03683458DE}"/>
              </a:ext>
            </a:extLst>
          </p:cNvPr>
          <p:cNvSpPr txBox="1"/>
          <p:nvPr userDrawn="1"/>
        </p:nvSpPr>
        <p:spPr>
          <a:xfrm>
            <a:off x="4485236" y="1435550"/>
            <a:ext cx="6468762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Initial Situation &amp; Challenge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EB6F190-51CC-A0C4-6015-940E4AAD7C94}"/>
              </a:ext>
            </a:extLst>
          </p:cNvPr>
          <p:cNvSpPr txBox="1"/>
          <p:nvPr userDrawn="1"/>
        </p:nvSpPr>
        <p:spPr>
          <a:xfrm>
            <a:off x="4485235" y="3215654"/>
            <a:ext cx="6468762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 b="1" kern="0" dirty="0" err="1">
                <a:solidFill>
                  <a:schemeClr val="bg1"/>
                </a:solidFill>
                <a:latin typeface="Arial" panose="020B0604020202020204"/>
              </a:rPr>
              <a:t>Our</a:t>
            </a:r>
            <a:r>
              <a:rPr lang="de-DE" sz="1600" b="1" kern="0" dirty="0">
                <a:solidFill>
                  <a:schemeClr val="bg1"/>
                </a:solidFill>
                <a:latin typeface="Arial" panose="020B0604020202020204"/>
              </a:rPr>
              <a:t> Solution Concept</a:t>
            </a:r>
          </a:p>
        </p:txBody>
      </p:sp>
    </p:spTree>
    <p:extLst>
      <p:ext uri="{BB962C8B-B14F-4D97-AF65-F5344CB8AC3E}">
        <p14:creationId xmlns:p14="http://schemas.microsoft.com/office/powerpoint/2010/main" val="960772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8187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3">
            <a:extLst>
              <a:ext uri="{FF2B5EF4-FFF2-40B4-BE49-F238E27FC236}">
                <a16:creationId xmlns:a16="http://schemas.microsoft.com/office/drawing/2014/main" id="{64016B32-4EDF-7F92-A9E3-DF3F1521540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335569" y="6526781"/>
            <a:ext cx="789373" cy="214587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7AB7D72D-C521-F68F-095D-5D1378147241}"/>
              </a:ext>
            </a:extLst>
          </p:cNvPr>
          <p:cNvSpPr txBox="1"/>
          <p:nvPr userDrawn="1"/>
        </p:nvSpPr>
        <p:spPr>
          <a:xfrm>
            <a:off x="11373060" y="6495574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Nr.›</a:t>
            </a:fld>
            <a:endParaRPr lang="de-DE" sz="1200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2542732" y="0"/>
            <a:ext cx="381964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2542732" y="434552"/>
            <a:ext cx="381964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2542732" y="900182"/>
            <a:ext cx="381964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2542732" y="1566324"/>
            <a:ext cx="381964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2542732" y="2027295"/>
            <a:ext cx="381964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2542732" y="2488266"/>
            <a:ext cx="381964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2542732" y="2955343"/>
            <a:ext cx="381964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2542732" y="3422420"/>
            <a:ext cx="381964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2542732" y="4088563"/>
            <a:ext cx="381964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2542732" y="4535740"/>
            <a:ext cx="381964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2542732" y="4982917"/>
            <a:ext cx="381964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2542732" y="5877272"/>
            <a:ext cx="381964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2542732" y="5430094"/>
            <a:ext cx="381964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998" y="1062000"/>
            <a:ext cx="1152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59" r:id="rId2"/>
    <p:sldLayoutId id="214748395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tabLst>
          <a:tab pos="4476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5113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51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840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034C62C7-F4F2-34AD-9078-54E39676EF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423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4C62C7-F4F2-34AD-9078-54E39676E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750FB05-03B3-31D6-13E9-45859B581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0"/>
            <a:ext cx="11522075" cy="586860"/>
          </a:xfrm>
        </p:spPr>
        <p:txBody>
          <a:bodyPr vert="horz"/>
          <a:lstStyle/>
          <a:p>
            <a:r>
              <a:rPr lang="en-US" dirty="0" err="1"/>
              <a:t>Actiontitl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657A0C4-C8B8-C20A-40F4-198DBEFDF3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8200" y="3498226"/>
            <a:ext cx="7141359" cy="1276974"/>
          </a:xfrm>
        </p:spPr>
        <p:txBody>
          <a:bodyPr/>
          <a:lstStyle/>
          <a:p>
            <a:r>
              <a:rPr lang="en-US" dirty="0" err="1"/>
              <a:t>Lösungskonze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B8857D-D18B-D3A8-4063-0B60FC536E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8201" y="1718123"/>
            <a:ext cx="7141359" cy="325811"/>
          </a:xfrm>
        </p:spPr>
        <p:txBody>
          <a:bodyPr/>
          <a:lstStyle/>
          <a:p>
            <a:r>
              <a:rPr lang="en-US" dirty="0" err="1"/>
              <a:t>Ausgangssituatio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26BC16-C872-8FD7-00F3-E5DE233459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8200" y="5254719"/>
            <a:ext cx="7141360" cy="640515"/>
          </a:xfrm>
        </p:spPr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CE36457-C1FA-C38E-001A-01F1126851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962" y="586859"/>
            <a:ext cx="11522075" cy="327540"/>
          </a:xfrm>
        </p:spPr>
        <p:txBody>
          <a:bodyPr/>
          <a:lstStyle/>
          <a:p>
            <a:r>
              <a:rPr lang="en-US" dirty="0"/>
              <a:t>Branch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63C7E66-7E87-EC4E-912D-AAABFA419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ompany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4D61D5E3-D4B0-D197-98C8-14D6011715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Person responsibl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E09947DD-296C-6CD4-73A7-D185D8FA41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ID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14C0E3A6-12DA-9015-E731-1C738F77F4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597AA68-3067-A16D-4DB5-7DD23E954B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0910" y="2045049"/>
            <a:ext cx="3628690" cy="492443"/>
          </a:xfrm>
        </p:spPr>
        <p:txBody>
          <a:bodyPr/>
          <a:lstStyle/>
          <a:p>
            <a:r>
              <a:rPr lang="en-US" dirty="0"/>
              <a:t>KPI 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7A604DC-B6DB-A34E-DBFC-D6C8FCFA6B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0910" y="2488247"/>
            <a:ext cx="3628690" cy="606780"/>
          </a:xfrm>
        </p:spPr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9CEF329-77B0-45F3-F4A4-CFC6F144639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0910" y="3095027"/>
            <a:ext cx="3628690" cy="443198"/>
          </a:xfrm>
        </p:spPr>
        <p:txBody>
          <a:bodyPr/>
          <a:lstStyle/>
          <a:p>
            <a:r>
              <a:rPr lang="en-US" dirty="0"/>
              <a:t>KPI 2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B9E3B2C7-A3AB-80F7-731A-D2A1C29939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910" y="3538225"/>
            <a:ext cx="3628690" cy="606780"/>
          </a:xfrm>
        </p:spPr>
        <p:txBody>
          <a:bodyPr/>
          <a:lstStyle/>
          <a:p>
            <a:r>
              <a:rPr lang="en-US" dirty="0"/>
              <a:t>Description KPI 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C1B5B6C-0F79-A84B-7B56-8EBD941A8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40910" y="4145005"/>
            <a:ext cx="3628690" cy="443198"/>
          </a:xfrm>
        </p:spPr>
        <p:txBody>
          <a:bodyPr/>
          <a:lstStyle/>
          <a:p>
            <a:r>
              <a:rPr lang="en-US" dirty="0"/>
              <a:t>KPI 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FCFA50D-210F-D3E8-C83E-CB744D4BC62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910" y="4588203"/>
            <a:ext cx="3628690" cy="606780"/>
          </a:xfrm>
        </p:spPr>
        <p:txBody>
          <a:bodyPr/>
          <a:lstStyle/>
          <a:p>
            <a:r>
              <a:rPr lang="en-US" dirty="0"/>
              <a:t>Description KPI 3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035946D2-40C0-8A7C-809A-AD81A41491A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0910" y="5194983"/>
            <a:ext cx="3628690" cy="443198"/>
          </a:xfrm>
        </p:spPr>
        <p:txBody>
          <a:bodyPr/>
          <a:lstStyle/>
          <a:p>
            <a:r>
              <a:rPr lang="en-US" dirty="0"/>
              <a:t>KPI 4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FEA0697-0F8C-CA8F-2575-383C5F5E2BD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0910" y="5638181"/>
            <a:ext cx="3628690" cy="606780"/>
          </a:xfrm>
        </p:spPr>
        <p:txBody>
          <a:bodyPr/>
          <a:lstStyle/>
          <a:p>
            <a:r>
              <a:rPr lang="en-US" dirty="0"/>
              <a:t>Description KPI 4</a:t>
            </a:r>
          </a:p>
        </p:txBody>
      </p:sp>
    </p:spTree>
    <p:extLst>
      <p:ext uri="{BB962C8B-B14F-4D97-AF65-F5344CB8AC3E}">
        <p14:creationId xmlns:p14="http://schemas.microsoft.com/office/powerpoint/2010/main" val="2116952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d83083c4-fe3b-4c96-aa87-9b2af1a9ebdb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Single=&quot;2024_02_TCW Master_uvw¦1_Standardfolie mit Pfeil&quot; customLayoutName=&quot;2024_02_TCW Master_uvw¦1_Standardfolie mit Pfeil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Backup=&quot;2024_02_TCW Master_uvw¦1_Standardfolie mit Pfeil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nameFarEast=&quot;&quot; nameComplexScript=&quot;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+mn-lt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nameFarEast=&quot;&quot; nameComplexScript=&quot;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New Agenda&quot; title=&quot;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8&quot; hideSeparatingSlides=&quot;0&quot; createSections=&quot;1&quot; singleSlideId=&quot;61011472-c7a4-439d-83f1-dd9a57b2016e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552.6906&quot; /&gt;&lt;column field=&quot;responsible&quot; label=&quot;Responsible&quot; visible=&quot;1&quot; checked=&quot;0&quot; leftSpacing=&quot;10&quot; rightDistribute=&quot;1&quot; dock=&quot;1&quot; rightSpacing=&quot;205.9839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27a30834-6042-4218-9c25-dff6bbfb7712&quot; parentId=&quot;&quot; level=&quot;1&quot; generateAgendaSlide=&quot;1&quot; showAgendaItem=&quot;1&quot; isBreak=&quot;0&quot; topic=&quot;Innovation Management&quot; agendaSlideId=&quot;56a576cf-bb2b-4ae2-9807-c4198b701f69&quot; sectionId=&quot;{76D4F924-BAC1-4581-8ACB-AED83F2A84ED}&quot; /&gt;&lt;item duration=&quot;30&quot; id=&quot;f1a486f2-611b-4b8f-b850-5e5c152f483e&quot; parentId=&quot;&quot; level=&quot;1&quot; generateAgendaSlide=&quot;1&quot; showAgendaItem=&quot;1&quot; isBreak=&quot;0&quot; topic=&quot;Product &amp;amp; Service Excellence &quot; agendaSlideId=&quot;fca82681-cd2e-4d19-8bfe-041b1d36daa0&quot; sectionId=&quot;{8AC0F033-C88B-4A87-BD14-949B38B54FED}&quot; /&gt;&lt;item duration=&quot;30&quot; id=&quot;455da16d-81d4-496a-a914-55d87292cd22&quot; parentId=&quot;&quot; level=&quot;1&quot; generateAgendaSlide=&quot;1&quot; showAgendaItem=&quot;1&quot; isBreak=&quot;0&quot; topic=&quot;Procurement&quot; agendaSlideId=&quot;e423de2d-cdee-4842-b517-2db6d4c31f66&quot; sectionId=&quot;{E5374370-1522-4671-B830-CE9EB6ED7AAF}&quot; /&gt;&lt;item duration=&quot;30&quot; id=&quot;55c01f84-efc2-4849-b451-808d2cd5e657&quot; parentId=&quot;&quot; level=&quot;1&quot; generateAgendaSlide=&quot;1&quot; showAgendaItem=&quot;1&quot; isBreak=&quot;0&quot; topic=&quot;Production &amp;amp; Supply Chain Managment&quot; agendaSlideId=&quot;68c8e4a8-6e9d-407c-ae81-d10545ff029e&quot; sectionId=&quot;{9B417A8F-5C98-43D0-B109-D4246E031EAE}&quot; /&gt;&lt;item duration=&quot;30&quot; id=&quot;d4aafe5b-51af-4182-94ad-6edab0caf264&quot; parentId=&quot;&quot; level=&quot;1&quot; generateAgendaSlide=&quot;1&quot; showAgendaItem=&quot;1&quot; isBreak=&quot;0&quot; topic=&quot;Digital Transformation, Data Analytics &amp;amp; AI&quot; agendaSlideId=&quot;c78cd36d-4e89-46db-89c7-d4b1d73ee9c6&quot; sectionId=&quot;{F19EE3A0-DDA9-4D9F-A429-3AB9CEDE4CC6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fb8dc1b-9d59-4105-bc07-f1f968f5154f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5b6c06b5-1db8-4c81-aedd-b1bde2b8bfd2">
      <Terms xmlns="http://schemas.microsoft.com/office/infopath/2007/PartnerControls"/>
    </lcf76f155ced4ddcb4097134ff3c332f>
    <TaxCatchAll xmlns="3fb8dc1b-9d59-4105-bc07-f1f968f5154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FA53E48D41D05439A7FB623C7478AFF" ma:contentTypeVersion="18" ma:contentTypeDescription="Ein neues Dokument erstellen." ma:contentTypeScope="" ma:versionID="495b3b6b5079efe696b8d9f588648941">
  <xsd:schema xmlns:xsd="http://www.w3.org/2001/XMLSchema" xmlns:xs="http://www.w3.org/2001/XMLSchema" xmlns:p="http://schemas.microsoft.com/office/2006/metadata/properties" xmlns:ns2="5b6c06b5-1db8-4c81-aedd-b1bde2b8bfd2" xmlns:ns3="3fb8dc1b-9d59-4105-bc07-f1f968f5154f" targetNamespace="http://schemas.microsoft.com/office/2006/metadata/properties" ma:root="true" ma:fieldsID="2182acfa1422538829d9682ba2cc316e" ns2:_="" ns3:_="">
    <xsd:import namespace="5b6c06b5-1db8-4c81-aedd-b1bde2b8bfd2"/>
    <xsd:import namespace="3fb8dc1b-9d59-4105-bc07-f1f968f515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6c06b5-1db8-4c81-aedd-b1bde2b8bf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8dc1b-9d59-4105-bc07-f1f968f5154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0ddd5a7-ec8d-41ea-9803-d40f54a04c1e}" ma:internalName="TaxCatchAll" ma:showField="CatchAllData" ma:web="3fb8dc1b-9d59-4105-bc07-f1f968f5154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34EEC2-295B-443A-8029-DF87F749AE1B}">
  <ds:schemaRefs>
    <ds:schemaRef ds:uri="3fb8dc1b-9d59-4105-bc07-f1f968f5154f"/>
    <ds:schemaRef ds:uri="5b6c06b5-1db8-4c81-aedd-b1bde2b8bfd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8709FC7-DADA-4BD7-AD71-1B217709B1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b6c06b5-1db8-4c81-aedd-b1bde2b8bfd2"/>
    <ds:schemaRef ds:uri="3fb8dc1b-9d59-4105-bc07-f1f968f51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</Words>
  <Application>Microsoft Office PowerPoint</Application>
  <PresentationFormat>Breitbild</PresentationFormat>
  <Paragraphs>17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</vt:vector>
  </TitlesOfParts>
  <Manager/>
  <Company>TCW Transfer-Centrum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vonWaldow, Ulrich</dc:creator>
  <cp:keywords>, docId:AEBEB4E5AFF77D24A7487559A5952AD8</cp:keywords>
  <dc:description/>
  <cp:lastModifiedBy>vonWaldow, Ulrich</cp:lastModifiedBy>
  <cp:revision>7</cp:revision>
  <cp:lastPrinted>1999-12-31T23:00:00Z</cp:lastPrinted>
  <dcterms:created xsi:type="dcterms:W3CDTF">2024-02-19T13:17:53Z</dcterms:created>
  <dcterms:modified xsi:type="dcterms:W3CDTF">2024-09-03T13:45:49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53E48D41D05439A7FB623C7478AFF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